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  <a:srgbClr val="FFFFCC"/>
    <a:srgbClr val="66CCFF"/>
    <a:srgbClr val="CCFFFF"/>
    <a:srgbClr val="CCECFF"/>
    <a:srgbClr val="FFDDE8"/>
    <a:srgbClr val="FFFF99"/>
    <a:srgbClr val="FFC000"/>
    <a:srgbClr val="FFFF00"/>
    <a:srgbClr val="F9B2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中間スタイル 1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淡色スタイル 3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4424" autoAdjust="0"/>
  </p:normalViewPr>
  <p:slideViewPr>
    <p:cSldViewPr snapToGrid="0" showGuides="1">
      <p:cViewPr varScale="1">
        <p:scale>
          <a:sx n="74" d="100"/>
          <a:sy n="74" d="100"/>
        </p:scale>
        <p:origin x="990" y="72"/>
      </p:cViewPr>
      <p:guideLst>
        <p:guide orient="horz" pos="4247"/>
        <p:guide pos="6159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-26112"/>
    </p:cViewPr>
  </p:sorterViewPr>
  <p:gridSpacing cx="72008" cy="72008"/>
</p:viewPr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7" y="2"/>
            <a:ext cx="3076977" cy="513789"/>
          </a:xfrm>
          <a:prstGeom prst="rect">
            <a:avLst/>
          </a:prstGeom>
        </p:spPr>
        <p:txBody>
          <a:bodyPr vert="horz" lIns="95323" tIns="47663" rIns="95323" bIns="47663" rtlCol="0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4020650" y="2"/>
            <a:ext cx="3076976" cy="513789"/>
          </a:xfrm>
          <a:prstGeom prst="rect">
            <a:avLst/>
          </a:prstGeom>
        </p:spPr>
        <p:txBody>
          <a:bodyPr vert="horz" lIns="95323" tIns="47663" rIns="95323" bIns="47663" rtlCol="0"/>
          <a:lstStyle>
            <a:lvl1pPr algn="r">
              <a:defRPr sz="1300"/>
            </a:lvl1pPr>
          </a:lstStyle>
          <a:p>
            <a:fld id="{2362DB92-0138-498D-9793-ADF9061966C9}" type="datetimeFigureOut">
              <a:rPr kumimoji="1" lang="ja-JP" altLang="en-US" smtClean="0"/>
              <a:t>2018/11/19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17" y="9720826"/>
            <a:ext cx="3076977" cy="513789"/>
          </a:xfrm>
          <a:prstGeom prst="rect">
            <a:avLst/>
          </a:prstGeom>
        </p:spPr>
        <p:txBody>
          <a:bodyPr vert="horz" lIns="95323" tIns="47663" rIns="95323" bIns="47663" rtlCol="0" anchor="b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4020650" y="9720826"/>
            <a:ext cx="3076976" cy="513789"/>
          </a:xfrm>
          <a:prstGeom prst="rect">
            <a:avLst/>
          </a:prstGeom>
        </p:spPr>
        <p:txBody>
          <a:bodyPr vert="horz" lIns="95323" tIns="47663" rIns="95323" bIns="47663" rtlCol="0" anchor="b"/>
          <a:lstStyle>
            <a:lvl1pPr algn="r">
              <a:defRPr sz="1300"/>
            </a:lvl1pPr>
          </a:lstStyle>
          <a:p>
            <a:fld id="{325F3C74-2B99-4C09-B9C9-E354856759B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043034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 1"/>
          <p:cNvSpPr>
            <a:spLocks noGrp="1"/>
          </p:cNvSpPr>
          <p:nvPr>
            <p:ph type="hdr" sz="quarter"/>
          </p:nvPr>
        </p:nvSpPr>
        <p:spPr>
          <a:xfrm>
            <a:off x="8" y="1"/>
            <a:ext cx="3076364" cy="511730"/>
          </a:xfrm>
          <a:prstGeom prst="rect">
            <a:avLst/>
          </a:prstGeom>
        </p:spPr>
        <p:txBody>
          <a:bodyPr vert="horz" lIns="95323" tIns="47663" rIns="95323" bIns="47663" rtlCol="0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idx="1"/>
          </p:nvPr>
        </p:nvSpPr>
        <p:spPr>
          <a:xfrm>
            <a:off x="4021310" y="1"/>
            <a:ext cx="3076364" cy="511730"/>
          </a:xfrm>
          <a:prstGeom prst="rect">
            <a:avLst/>
          </a:prstGeom>
        </p:spPr>
        <p:txBody>
          <a:bodyPr vert="horz" lIns="95323" tIns="47663" rIns="95323" bIns="47663" rtlCol="0"/>
          <a:lstStyle>
            <a:lvl1pPr algn="r">
              <a:defRPr sz="1300"/>
            </a:lvl1pPr>
          </a:lstStyle>
          <a:p>
            <a:fld id="{81073E90-C99F-46D5-BB9F-6A4E50561351}" type="datetimeFigureOut">
              <a:rPr kumimoji="1" lang="ja-JP" altLang="en-US" smtClean="0"/>
              <a:pPr/>
              <a:t>2018/11/19</a:t>
            </a:fld>
            <a:endParaRPr kumimoji="1" lang="ja-JP" altLang="en-US"/>
          </a:p>
        </p:txBody>
      </p:sp>
      <p:sp>
        <p:nvSpPr>
          <p:cNvPr id="4" name="スライド イメージ プレースホルダ 3"/>
          <p:cNvSpPr>
            <a:spLocks noGrp="1" noRot="1" noChangeAspect="1"/>
          </p:cNvSpPr>
          <p:nvPr>
            <p:ph type="sldImg" idx="2"/>
          </p:nvPr>
        </p:nvSpPr>
        <p:spPr>
          <a:xfrm>
            <a:off x="776288" y="766763"/>
            <a:ext cx="5546725" cy="3840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323" tIns="47663" rIns="95323" bIns="47663" rtlCol="0" anchor="ctr"/>
          <a:lstStyle/>
          <a:p>
            <a:endParaRPr lang="ja-JP" altLang="en-US"/>
          </a:p>
        </p:txBody>
      </p:sp>
      <p:sp>
        <p:nvSpPr>
          <p:cNvPr id="5" name="ノー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709931" y="4861443"/>
            <a:ext cx="5679440" cy="4605575"/>
          </a:xfrm>
          <a:prstGeom prst="rect">
            <a:avLst/>
          </a:prstGeom>
        </p:spPr>
        <p:txBody>
          <a:bodyPr vert="horz" lIns="95323" tIns="47663" rIns="95323" bIns="47663" rtlCol="0">
            <a:normAutofit/>
          </a:bodyPr>
          <a:lstStyle/>
          <a:p>
            <a:pPr lvl="0"/>
            <a:r>
              <a:rPr kumimoji="1" lang="ja-JP" altLang="en-US" smtClean="0"/>
              <a:t>マスタ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4"/>
          </p:nvPr>
        </p:nvSpPr>
        <p:spPr>
          <a:xfrm>
            <a:off x="8" y="9721107"/>
            <a:ext cx="3076364" cy="511730"/>
          </a:xfrm>
          <a:prstGeom prst="rect">
            <a:avLst/>
          </a:prstGeom>
        </p:spPr>
        <p:txBody>
          <a:bodyPr vert="horz" lIns="95323" tIns="47663" rIns="95323" bIns="47663" rtlCol="0" anchor="b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5"/>
          </p:nvPr>
        </p:nvSpPr>
        <p:spPr>
          <a:xfrm>
            <a:off x="4021310" y="9721107"/>
            <a:ext cx="3076364" cy="511730"/>
          </a:xfrm>
          <a:prstGeom prst="rect">
            <a:avLst/>
          </a:prstGeom>
        </p:spPr>
        <p:txBody>
          <a:bodyPr vert="horz" lIns="95323" tIns="47663" rIns="95323" bIns="47663" rtlCol="0" anchor="b"/>
          <a:lstStyle>
            <a:lvl1pPr algn="r">
              <a:defRPr sz="1300"/>
            </a:lvl1pPr>
          </a:lstStyle>
          <a:p>
            <a:fld id="{9247A257-4C07-4AB6-BC31-F377782D84F4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626338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2700">
          <a:solidFill>
            <a:srgbClr val="FFFF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noAutofit/>
      </a:bodyPr>
      <a:lstStyle>
        <a:defPPr marL="1338263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8BD9F5"/>
        </a:solidFill>
        <a:ln w="9525" algn="ctr">
          <a:solidFill>
            <a:schemeClr val="tx2"/>
          </a:solidFill>
          <a:round/>
          <a:headEnd/>
          <a:tailEnd/>
        </a:ln>
      </a:spPr>
      <a:bodyPr wrap="none" anchor="ctr"/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  <a:txDef>
      <a:spPr>
        <a:solidFill>
          <a:schemeClr val="bg1">
            <a:alpha val="60000"/>
          </a:schemeClr>
        </a:solidFill>
        <a:ln>
          <a:solidFill>
            <a:schemeClr val="accent5"/>
          </a:solidFill>
        </a:ln>
      </a:spPr>
      <a:bodyPr wrap="square" tIns="72000" bIns="72000" rtlCol="0" anchor="ctr" anchorCtr="1">
        <a:spAutoFit/>
      </a:bodyPr>
      <a:lstStyle>
        <a:defPPr>
          <a:defRPr kumimoji="1" sz="1200" dirty="0" smtClean="0">
            <a:latin typeface="+mn-ea"/>
            <a:ea typeface="+mn-ea"/>
          </a:defRPr>
        </a:defPPr>
      </a:lstStyle>
    </a:tx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0.xml><?xml version="1.0" encoding="utf-8"?>
<a:theme xmlns:a="http://schemas.openxmlformats.org/drawingml/2006/main" name="9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2.xml><?xml version="1.0" encoding="utf-8"?>
<a:theme xmlns:a="http://schemas.openxmlformats.org/drawingml/2006/main" name="10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3.xml><?xml version="1.0" encoding="utf-8"?>
<a:theme xmlns:a="http://schemas.openxmlformats.org/drawingml/2006/main" name="101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4.xml><?xml version="1.0" encoding="utf-8"?>
<a:theme xmlns:a="http://schemas.openxmlformats.org/drawingml/2006/main" name="9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5.xml><?xml version="1.0" encoding="utf-8"?>
<a:theme xmlns:a="http://schemas.openxmlformats.org/drawingml/2006/main" name="10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kumimoji="1" sz="1200" u="sng" dirty="0" smtClean="0">
            <a:latin typeface="メイリオ" panose="020B0604030504040204" pitchFamily="50" charset="-128"/>
            <a:ea typeface="メイリオ" panose="020B0604030504040204" pitchFamily="50" charset="-128"/>
            <a:cs typeface="メイリオ" panose="020B0604030504040204" pitchFamily="50" charset="-128"/>
          </a:defRPr>
        </a:defPPr>
      </a:lstStyle>
    </a:tx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6.xml><?xml version="1.0" encoding="utf-8"?>
<a:theme xmlns:a="http://schemas.openxmlformats.org/drawingml/2006/main" name="10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ユーザー定義 1">
      <a:majorFont>
        <a:latin typeface="HGPｺﾞｼｯｸM"/>
        <a:ea typeface="HGPｺﾞｼｯｸM"/>
        <a:cs typeface=""/>
      </a:majorFont>
      <a:minorFont>
        <a:latin typeface="HGPｺﾞｼｯｸM"/>
        <a:ea typeface="HGPｺﾞｼｯ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 bwMode="auto">
        <a:solidFill>
          <a:srgbClr val="0066CC"/>
        </a:solidFill>
        <a:ln w="38100" cap="flat" cmpd="sng" algn="ctr">
          <a:solidFill>
            <a:srgbClr val="FFC000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7.xml><?xml version="1.0" encoding="utf-8"?>
<a:theme xmlns:a="http://schemas.openxmlformats.org/drawingml/2006/main" name="109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8.xml><?xml version="1.0" encoding="utf-8"?>
<a:theme xmlns:a="http://schemas.openxmlformats.org/drawingml/2006/main" name="10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9.xml><?xml version="1.0" encoding="utf-8"?>
<a:theme xmlns:a="http://schemas.openxmlformats.org/drawingml/2006/main" name="10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9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1.xml><?xml version="1.0" encoding="utf-8"?>
<a:theme xmlns:a="http://schemas.openxmlformats.org/drawingml/2006/main" name="10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2.xml><?xml version="1.0" encoding="utf-8"?>
<a:theme xmlns:a="http://schemas.openxmlformats.org/drawingml/2006/main" name="107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 cmpd="sng" algn="ctr">
          <a:solidFill>
            <a:srgbClr val="00B0F0"/>
          </a:solidFill>
          <a:prstDash val="solid"/>
        </a:ln>
        <a:effectLst/>
      </a:spPr>
      <a:bodyPr anchor="ctr"/>
      <a:lstStyle>
        <a:defPPr fontAlgn="auto">
          <a:spcBef>
            <a:spcPts val="0"/>
          </a:spcBef>
          <a:spcAft>
            <a:spcPts val="0"/>
          </a:spcAft>
          <a:defRPr kumimoji="0" kern="0" dirty="0">
            <a:solidFill>
              <a:sysClr val="windowText" lastClr="000000"/>
            </a:solidFill>
            <a:latin typeface="ＭＳ Ｐゴシック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創英角ｺﾞｼｯｸUB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3.xml><?xml version="1.0" encoding="utf-8"?>
<a:theme xmlns:a="http://schemas.openxmlformats.org/drawingml/2006/main" name="108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 cmpd="sng" algn="ctr">
          <a:solidFill>
            <a:srgbClr val="00B0F0"/>
          </a:solidFill>
          <a:prstDash val="solid"/>
        </a:ln>
        <a:effectLst/>
      </a:spPr>
      <a:bodyPr anchor="ctr"/>
      <a:lstStyle>
        <a:defPPr fontAlgn="auto">
          <a:spcBef>
            <a:spcPts val="0"/>
          </a:spcBef>
          <a:spcAft>
            <a:spcPts val="0"/>
          </a:spcAft>
          <a:defRPr kumimoji="0" kern="0" dirty="0">
            <a:solidFill>
              <a:sysClr val="windowText" lastClr="000000"/>
            </a:solidFill>
            <a:latin typeface="ＭＳ Ｐゴシック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創英角ｺﾞｼｯｸUB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4.xml><?xml version="1.0" encoding="utf-8"?>
<a:theme xmlns:a="http://schemas.openxmlformats.org/drawingml/2006/main" name="125_標準デザイン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5.xml><?xml version="1.0" encoding="utf-8"?>
<a:theme xmlns:a="http://schemas.openxmlformats.org/drawingml/2006/main" name="11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6.xml><?xml version="1.0" encoding="utf-8"?>
<a:theme xmlns:a="http://schemas.openxmlformats.org/drawingml/2006/main" name="111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 cmpd="sng" algn="ctr">
          <a:solidFill>
            <a:srgbClr val="00B0F0"/>
          </a:solidFill>
          <a:prstDash val="solid"/>
        </a:ln>
        <a:effectLst/>
      </a:spPr>
      <a:bodyPr anchor="ctr"/>
      <a:lstStyle>
        <a:defPPr fontAlgn="auto">
          <a:spcBef>
            <a:spcPts val="0"/>
          </a:spcBef>
          <a:spcAft>
            <a:spcPts val="0"/>
          </a:spcAft>
          <a:defRPr kumimoji="0" kern="0" dirty="0">
            <a:solidFill>
              <a:sysClr val="windowText" lastClr="000000"/>
            </a:solidFill>
            <a:latin typeface="ＭＳ Ｐゴシック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創英角ｺﾞｼｯｸUB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7.xml><?xml version="1.0" encoding="utf-8"?>
<a:theme xmlns:a="http://schemas.openxmlformats.org/drawingml/2006/main" name="11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0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1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2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2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0000"/>
        </a:solidFill>
        <a:ln w="38100">
          <a:noFill/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no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5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9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30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 cmpd="sng" algn="ctr">
          <a:solidFill>
            <a:srgbClr val="00B0F0"/>
          </a:solidFill>
          <a:prstDash val="solid"/>
        </a:ln>
        <a:effectLst/>
      </a:spPr>
      <a:bodyPr anchor="ctr"/>
      <a:lstStyle>
        <a:defPPr fontAlgn="auto">
          <a:spcBef>
            <a:spcPts val="0"/>
          </a:spcBef>
          <a:spcAft>
            <a:spcPts val="0"/>
          </a:spcAft>
          <a:defRPr kumimoji="0" kern="0" dirty="0">
            <a:solidFill>
              <a:sysClr val="windowText" lastClr="000000"/>
            </a:solidFill>
            <a:latin typeface="ＭＳ Ｐゴシック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創英角ｺﾞｼｯｸUB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3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3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noFill/>
          <a:miter lim="800000"/>
          <a:headEnd/>
          <a:tailEnd/>
        </a:ln>
      </a:spPr>
      <a:bodyPr wrap="none" anchor="ctr"/>
      <a:lstStyle>
        <a:defPPr>
          <a:defRPr sz="1100" b="1" dirty="0" smtClean="0">
            <a:latin typeface="メイリオ" pitchFamily="50" charset="-128"/>
            <a:ea typeface="メイリオ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3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3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3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3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観光庁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観光庁" id="{E678849D-3D67-461F-8372-1A51C107DECA}" vid="{C8A38C52-FDA7-413A-B392-BC7CA706AC22}"/>
    </a:ext>
  </a:extLst>
</a:theme>
</file>

<file path=ppt/theme/theme41.xml><?xml version="1.0" encoding="utf-8"?>
<a:theme xmlns:a="http://schemas.openxmlformats.org/drawingml/2006/main" name="3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39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5.xml><?xml version="1.0" encoding="utf-8"?>
<a:theme xmlns:a="http://schemas.openxmlformats.org/drawingml/2006/main" name="6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6.xml><?xml version="1.0" encoding="utf-8"?>
<a:theme xmlns:a="http://schemas.openxmlformats.org/drawingml/2006/main" name="4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7.xml><?xml version="1.0" encoding="utf-8"?>
<a:theme xmlns:a="http://schemas.openxmlformats.org/drawingml/2006/main" name="4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8.xml><?xml version="1.0" encoding="utf-8"?>
<a:theme xmlns:a="http://schemas.openxmlformats.org/drawingml/2006/main" name="4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0000"/>
        </a:solidFill>
        <a:ln w="38100">
          <a:noFill/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no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9.xml><?xml version="1.0" encoding="utf-8"?>
<a:theme xmlns:a="http://schemas.openxmlformats.org/drawingml/2006/main" name="4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0.xml><?xml version="1.0" encoding="utf-8"?>
<a:theme xmlns:a="http://schemas.openxmlformats.org/drawingml/2006/main" name="4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CC66"/>
        </a:solidFill>
        <a:ln w="9525" algn="ctr">
          <a:noFill/>
          <a:round/>
          <a:headEnd/>
          <a:tailEnd/>
        </a:ln>
        <a:effectLst/>
      </a:spPr>
      <a:bodyPr wrap="none" tIns="90000" anchor="ctr" anchorCtr="1"/>
      <a:lstStyle>
        <a:defPPr>
          <a:defRPr sz="1400" b="1" dirty="0" smtClean="0">
            <a:solidFill>
              <a:schemeClr val="bg1"/>
            </a:solidFill>
            <a:latin typeface="メイリオ" pitchFamily="50" charset="-128"/>
            <a:ea typeface="メイリオ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  <a:txDef>
      <a:spPr>
        <a:noFill/>
        <a:ln>
          <a:solidFill>
            <a:schemeClr val="bg1">
              <a:lumMod val="65000"/>
            </a:schemeClr>
          </a:solidFill>
        </a:ln>
      </a:spPr>
      <a:bodyPr wrap="square" tIns="72000" bIns="72000" rtlCol="0" anchor="ctr" anchorCtr="0">
        <a:spAutoFit/>
      </a:bodyPr>
      <a:lstStyle>
        <a:defPPr marL="285750" indent="-285750">
          <a:buFont typeface="Arial" panose="020B0604020202020204" pitchFamily="34" charset="0"/>
          <a:buChar char="•"/>
          <a:defRPr dirty="0" smtClean="0"/>
        </a:defPPr>
      </a:lstStyle>
    </a:tx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1.xml><?xml version="1.0" encoding="utf-8"?>
<a:theme xmlns:a="http://schemas.openxmlformats.org/drawingml/2006/main" name="4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4.xml><?xml version="1.0" encoding="utf-8"?>
<a:theme xmlns:a="http://schemas.openxmlformats.org/drawingml/2006/main" name="6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5.xml><?xml version="1.0" encoding="utf-8"?>
<a:theme xmlns:a="http://schemas.openxmlformats.org/drawingml/2006/main" name="6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6.xml><?xml version="1.0" encoding="utf-8"?>
<a:theme xmlns:a="http://schemas.openxmlformats.org/drawingml/2006/main" name="66_標準デザイン">
  <a:themeElements>
    <a:clrScheme name="3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3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7.xml><?xml version="1.0" encoding="utf-8"?>
<a:theme xmlns:a="http://schemas.openxmlformats.org/drawingml/2006/main" name="6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8.xml><?xml version="1.0" encoding="utf-8"?>
<a:theme xmlns:a="http://schemas.openxmlformats.org/drawingml/2006/main" name="6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9.xml><?xml version="1.0" encoding="utf-8"?>
<a:theme xmlns:a="http://schemas.openxmlformats.org/drawingml/2006/main" name="69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0.xml><?xml version="1.0" encoding="utf-8"?>
<a:theme xmlns:a="http://schemas.openxmlformats.org/drawingml/2006/main" name="7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1.xml><?xml version="1.0" encoding="utf-8"?>
<a:theme xmlns:a="http://schemas.openxmlformats.org/drawingml/2006/main" name="71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2.xml><?xml version="1.0" encoding="utf-8"?>
<a:theme xmlns:a="http://schemas.openxmlformats.org/drawingml/2006/main" name="7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3.xml><?xml version="1.0" encoding="utf-8"?>
<a:theme xmlns:a="http://schemas.openxmlformats.org/drawingml/2006/main" name="7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4.xml><?xml version="1.0" encoding="utf-8"?>
<a:theme xmlns:a="http://schemas.openxmlformats.org/drawingml/2006/main" name="74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5.xml><?xml version="1.0" encoding="utf-8"?>
<a:theme xmlns:a="http://schemas.openxmlformats.org/drawingml/2006/main" name="2_観光庁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観光庁" id="{E678849D-3D67-461F-8372-1A51C107DECA}" vid="{C8A38C52-FDA7-413A-B392-BC7CA706AC22}"/>
    </a:ext>
  </a:extLst>
</a:theme>
</file>

<file path=ppt/theme/theme76.xml><?xml version="1.0" encoding="utf-8"?>
<a:theme xmlns:a="http://schemas.openxmlformats.org/drawingml/2006/main" name="7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8.xml><?xml version="1.0" encoding="utf-8"?>
<a:theme xmlns:a="http://schemas.openxmlformats.org/drawingml/2006/main" name="7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9.xml><?xml version="1.0" encoding="utf-8"?>
<a:theme xmlns:a="http://schemas.openxmlformats.org/drawingml/2006/main" name="7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0.xml><?xml version="1.0" encoding="utf-8"?>
<a:theme xmlns:a="http://schemas.openxmlformats.org/drawingml/2006/main" name="79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FF0000"/>
          </a:solidFill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4763" algn="ctr">
          <a:lnSpc>
            <a:spcPct val="130000"/>
          </a:lnSpc>
          <a:tabLst>
            <a:tab pos="3136900" algn="ctr"/>
          </a:tabLst>
          <a:defRPr kumimoji="1" sz="1600" dirty="0" smtClean="0">
            <a:latin typeface="+mn-ea"/>
            <a:ea typeface="+mn-ea"/>
          </a:defRPr>
        </a:defPPr>
      </a:lstStyle>
    </a:spDef>
    <a:lnDef>
      <a:spPr bwMode="auto">
        <a:solidFill>
          <a:srgbClr val="0066CC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1.xml><?xml version="1.0" encoding="utf-8"?>
<a:theme xmlns:a="http://schemas.openxmlformats.org/drawingml/2006/main" name="8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2.xml><?xml version="1.0" encoding="utf-8"?>
<a:theme xmlns:a="http://schemas.openxmlformats.org/drawingml/2006/main" name="81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3.xml><?xml version="1.0" encoding="utf-8"?>
<a:theme xmlns:a="http://schemas.openxmlformats.org/drawingml/2006/main" name="82_標準デザイン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1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  <a:txDef>
      <a:spPr>
        <a:noFill/>
        <a:ln>
          <a:solidFill>
            <a:srgbClr val="00B050"/>
          </a:solidFill>
          <a:prstDash val="dash"/>
        </a:ln>
      </a:spPr>
      <a:bodyPr wrap="none" rtlCol="0">
        <a:noAutofit/>
      </a:bodyPr>
      <a:lstStyle>
        <a:defPPr algn="l">
          <a:buFont typeface="Wingdings" pitchFamily="2" charset="2"/>
          <a:buChar char="Ø"/>
          <a:defRPr kumimoji="1" sz="1200" dirty="0" smtClean="0"/>
        </a:defPPr>
      </a:lstStyle>
    </a:tx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6.xml><?xml version="1.0" encoding="utf-8"?>
<a:theme xmlns:a="http://schemas.openxmlformats.org/drawingml/2006/main" name="9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7.xml><?xml version="1.0" encoding="utf-8"?>
<a:theme xmlns:a="http://schemas.openxmlformats.org/drawingml/2006/main" name="9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ln w="25400">
          <a:solidFill>
            <a:schemeClr val="tx1"/>
          </a:solidFill>
          <a:miter lim="800000"/>
          <a:headEnd type="none" w="med" len="med"/>
          <a:tailEnd type="arrow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8.xml><?xml version="1.0" encoding="utf-8"?>
<a:theme xmlns:a="http://schemas.openxmlformats.org/drawingml/2006/main" name="11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9.xml><?xml version="1.0" encoding="utf-8"?>
<a:theme xmlns:a="http://schemas.openxmlformats.org/drawingml/2006/main" name="9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667</TotalTime>
  <Words>1046</Words>
  <Application>Microsoft Office PowerPoint</Application>
  <PresentationFormat>A4 210 x 297 mm</PresentationFormat>
  <Paragraphs>128</Paragraphs>
  <Slides>5</Slides>
  <Notes>3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0</vt:i4>
      </vt:variant>
      <vt:variant>
        <vt:lpstr>テーマ</vt:lpstr>
      </vt:variant>
      <vt:variant>
        <vt:i4>126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42" baseType="lpstr">
      <vt:lpstr>HGPｺﾞｼｯｸM</vt:lpstr>
      <vt:lpstr>HGP創英角ｺﾞｼｯｸUB</vt:lpstr>
      <vt:lpstr>HGS教科書体</vt:lpstr>
      <vt:lpstr>HG丸ｺﾞｼｯｸM-PRO</vt:lpstr>
      <vt:lpstr>Meiryo UI</vt:lpstr>
      <vt:lpstr>ＭＳ Ｐゴシック</vt:lpstr>
      <vt:lpstr>メイリオ</vt:lpstr>
      <vt:lpstr>Arial</vt:lpstr>
      <vt:lpstr>Calibri</vt:lpstr>
      <vt:lpstr>Calibri Light</vt:lpstr>
      <vt:lpstr>2_標準デザイン</vt:lpstr>
      <vt:lpstr>58_標準デザイン</vt:lpstr>
      <vt:lpstr>59_標準デザイン</vt:lpstr>
      <vt:lpstr>3_標準デザイン</vt:lpstr>
      <vt:lpstr>4_標準デザイン</vt:lpstr>
      <vt:lpstr>5_標準デザイン</vt:lpstr>
      <vt:lpstr>6_標準デザイン</vt:lpstr>
      <vt:lpstr>7_標準デザイン</vt:lpstr>
      <vt:lpstr>31_標準デザイン</vt:lpstr>
      <vt:lpstr>8_標準デザイン</vt:lpstr>
      <vt:lpstr>9_標準デザイン</vt:lpstr>
      <vt:lpstr>10_標準デザイン</vt:lpstr>
      <vt:lpstr>11_標準デザイン</vt:lpstr>
      <vt:lpstr>12_標準デザイン</vt:lpstr>
      <vt:lpstr>13_標準デザイン</vt:lpstr>
      <vt:lpstr>14_標準デザイン</vt:lpstr>
      <vt:lpstr>15_標準デザイン</vt:lpstr>
      <vt:lpstr>16_標準デザイン</vt:lpstr>
      <vt:lpstr>20_標準デザイン</vt:lpstr>
      <vt:lpstr>17_標準デザイン</vt:lpstr>
      <vt:lpstr>18_標準デザイン</vt:lpstr>
      <vt:lpstr>19_標準デザイン</vt:lpstr>
      <vt:lpstr>25_標準デザイン</vt:lpstr>
      <vt:lpstr>21_標準デザイン</vt:lpstr>
      <vt:lpstr>22_標準デザイン</vt:lpstr>
      <vt:lpstr>23_標準デザイン</vt:lpstr>
      <vt:lpstr>24_標準デザイン</vt:lpstr>
      <vt:lpstr>26_標準デザイン</vt:lpstr>
      <vt:lpstr>27_標準デザイン</vt:lpstr>
      <vt:lpstr>52_標準デザイン</vt:lpstr>
      <vt:lpstr>28_標準デザイン</vt:lpstr>
      <vt:lpstr>29_標準デザイン</vt:lpstr>
      <vt:lpstr>30_標準デザイン</vt:lpstr>
      <vt:lpstr>32_標準デザイン</vt:lpstr>
      <vt:lpstr>33_標準デザイン</vt:lpstr>
      <vt:lpstr>34_標準デザイン</vt:lpstr>
      <vt:lpstr>35_標準デザイン</vt:lpstr>
      <vt:lpstr>36_標準デザイン</vt:lpstr>
      <vt:lpstr>37_標準デザイン</vt:lpstr>
      <vt:lpstr>観光庁</vt:lpstr>
      <vt:lpstr>38_標準デザイン</vt:lpstr>
      <vt:lpstr>39_標準デザイン</vt:lpstr>
      <vt:lpstr>40_標準デザイン</vt:lpstr>
      <vt:lpstr>41_標準デザイン</vt:lpstr>
      <vt:lpstr>60_標準デザイン</vt:lpstr>
      <vt:lpstr>42_標準デザイン</vt:lpstr>
      <vt:lpstr>43_標準デザイン</vt:lpstr>
      <vt:lpstr>44_標準デザイン</vt:lpstr>
      <vt:lpstr>45_標準デザイン</vt:lpstr>
      <vt:lpstr>46_標準デザイン</vt:lpstr>
      <vt:lpstr>47_標準デザイン</vt:lpstr>
      <vt:lpstr>48_標準デザイン</vt:lpstr>
      <vt:lpstr>49_標準デザイン</vt:lpstr>
      <vt:lpstr>50_標準デザイン</vt:lpstr>
      <vt:lpstr>51_標準デザイン</vt:lpstr>
      <vt:lpstr>53_標準デザイン</vt:lpstr>
      <vt:lpstr>54_標準デザイン</vt:lpstr>
      <vt:lpstr>55_標準デザイン</vt:lpstr>
      <vt:lpstr>56_標準デザイン</vt:lpstr>
      <vt:lpstr>61_標準デザイン</vt:lpstr>
      <vt:lpstr>57_標準デザイン</vt:lpstr>
      <vt:lpstr>62_標準デザイン</vt:lpstr>
      <vt:lpstr>63_標準デザイン</vt:lpstr>
      <vt:lpstr>64_標準デザイン</vt:lpstr>
      <vt:lpstr>65_標準デザイン</vt:lpstr>
      <vt:lpstr>66_標準デザイン</vt:lpstr>
      <vt:lpstr>67_標準デザイン</vt:lpstr>
      <vt:lpstr>68_標準デザイン</vt:lpstr>
      <vt:lpstr>69_標準デザイン</vt:lpstr>
      <vt:lpstr>70_標準デザイン</vt:lpstr>
      <vt:lpstr>71_標準デザイン</vt:lpstr>
      <vt:lpstr>72_標準デザイン</vt:lpstr>
      <vt:lpstr>73_標準デザイン</vt:lpstr>
      <vt:lpstr>74_標準デザイン</vt:lpstr>
      <vt:lpstr>2_観光庁</vt:lpstr>
      <vt:lpstr>75_標準デザイン</vt:lpstr>
      <vt:lpstr>76_標準デザイン</vt:lpstr>
      <vt:lpstr>77_標準デザイン</vt:lpstr>
      <vt:lpstr>78_標準デザイン</vt:lpstr>
      <vt:lpstr>79_標準デザイン</vt:lpstr>
      <vt:lpstr>80_標準デザイン</vt:lpstr>
      <vt:lpstr>81_標準デザイン</vt:lpstr>
      <vt:lpstr>82_標準デザイン</vt:lpstr>
      <vt:lpstr>83_標準デザイン</vt:lpstr>
      <vt:lpstr>84_標準デザイン</vt:lpstr>
      <vt:lpstr>85_標準デザイン</vt:lpstr>
      <vt:lpstr>93_標準デザイン</vt:lpstr>
      <vt:lpstr>87_標準デザイン</vt:lpstr>
      <vt:lpstr>90_標準デザイン</vt:lpstr>
      <vt:lpstr>デザインの設定</vt:lpstr>
      <vt:lpstr>86_標準デザイン</vt:lpstr>
      <vt:lpstr>88_標準デザイン</vt:lpstr>
      <vt:lpstr>89_標準デザイン</vt:lpstr>
      <vt:lpstr>95_標準デザイン</vt:lpstr>
      <vt:lpstr>91_標準デザイン</vt:lpstr>
      <vt:lpstr>92_標準デザイン</vt:lpstr>
      <vt:lpstr>96_標準デザイン</vt:lpstr>
      <vt:lpstr>112_標準デザイン</vt:lpstr>
      <vt:lpstr>97_標準デザイン</vt:lpstr>
      <vt:lpstr>98_標準デザイン</vt:lpstr>
      <vt:lpstr>99_標準デザイン</vt:lpstr>
      <vt:lpstr>100_標準デザイン</vt:lpstr>
      <vt:lpstr>101_標準デザイン</vt:lpstr>
      <vt:lpstr>94_標準デザイン</vt:lpstr>
      <vt:lpstr>102_標準デザイン</vt:lpstr>
      <vt:lpstr>103_標準デザイン</vt:lpstr>
      <vt:lpstr>109_標準デザイン</vt:lpstr>
      <vt:lpstr>104_標準デザイン</vt:lpstr>
      <vt:lpstr>105_標準デザイン</vt:lpstr>
      <vt:lpstr>167_標準デザイン</vt:lpstr>
      <vt:lpstr>106_標準デザイン</vt:lpstr>
      <vt:lpstr>107_標準デザイン</vt:lpstr>
      <vt:lpstr>108_標準デザイン</vt:lpstr>
      <vt:lpstr>125_標準デザイン</vt:lpstr>
      <vt:lpstr>110_標準デザイン</vt:lpstr>
      <vt:lpstr>111_標準デザイン</vt:lpstr>
      <vt:lpstr>113_標準デザイン</vt:lpstr>
      <vt:lpstr>114_標準デザイン</vt:lpstr>
      <vt:lpstr>1_Office テーマ</vt:lpstr>
      <vt:lpstr>115_標準デザイン</vt:lpstr>
      <vt:lpstr>116_標準デザイン</vt:lpstr>
      <vt:lpstr>117_標準デザイン</vt:lpstr>
      <vt:lpstr>118_標準デザイン</vt:lpstr>
      <vt:lpstr>119_標準デザイン</vt:lpstr>
      <vt:lpstr>120_標準デザイン</vt:lpstr>
      <vt:lpstr>121_標準デザイン</vt:lpstr>
      <vt:lpstr>think-cell Slide</vt:lpstr>
      <vt:lpstr>観光庁のご紹介</vt:lpstr>
      <vt:lpstr>PowerPoint プレゼンテーション</vt:lpstr>
      <vt:lpstr>PowerPoint プレゼンテーション</vt:lpstr>
      <vt:lpstr>PowerPoint プレゼンテーション</vt:lpstr>
      <vt:lpstr>観光庁の概要（平成３０年１０月１日現在）</vt:lpstr>
    </vt:vector>
  </TitlesOfParts>
  <Company>国土交通省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スライド 1</dc:title>
  <dc:creator>行政情報化推進課</dc:creator>
  <cp:lastModifiedBy>なし</cp:lastModifiedBy>
  <cp:revision>2014</cp:revision>
  <cp:lastPrinted>2018-11-19T06:37:55Z</cp:lastPrinted>
  <dcterms:created xsi:type="dcterms:W3CDTF">2013-05-28T07:06:06Z</dcterms:created>
  <dcterms:modified xsi:type="dcterms:W3CDTF">2018-11-19T07:13:09Z</dcterms:modified>
</cp:coreProperties>
</file>